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3122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0" d="100"/>
          <a:sy n="60" d="100"/>
        </p:scale>
        <p:origin x="888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369750205874279E-3"/>
          <c:y val="6.8149717514124297E-2"/>
          <c:w val="0.98572604995882518"/>
          <c:h val="0.8637005649717514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6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4"/>
            <c:invertIfNegative val="0"/>
            <c:bubble3D val="0"/>
            <c:spPr>
              <a:solidFill>
                <a:schemeClr val="accent2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9C2F-4150-938F-04CCF88EEEAB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2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9C2F-4150-938F-04CCF88EEEAB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2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9C2F-4150-938F-04CCF88EEEAB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9C2F-4150-938F-04CCF88EEEAB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9C2F-4150-938F-04CCF88EEEAB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9C2F-4150-938F-04CCF88EEEAB}"/>
                </c:ext>
              </c:extLst>
            </c:dLbl>
            <c:dLbl>
              <c:idx val="3"/>
              <c:layout>
                <c:manualLayout>
                  <c:x val="0"/>
                  <c:y val="-3.5310734463276836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9C2F-4150-938F-04CCF88EEEAB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9C2F-4150-938F-04CCF88EEEAB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9C2F-4150-938F-04CCF88EEEAB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9C2F-4150-938F-04CCF88EEEAB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9C2F-4150-938F-04CCF88EEEAB}"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9C2F-4150-938F-04CCF88EEEA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I$1</c:f>
              <c:numCache>
                <c:formatCode>General</c:formatCode>
                <c:ptCount val="9"/>
                <c:pt idx="0">
                  <c:v>8</c:v>
                </c:pt>
                <c:pt idx="1">
                  <c:v>8.2149999999999999</c:v>
                </c:pt>
                <c:pt idx="2">
                  <c:v>10.88</c:v>
                </c:pt>
                <c:pt idx="3">
                  <c:v>16.701000000000001</c:v>
                </c:pt>
                <c:pt idx="4">
                  <c:v>13.846000000000002</c:v>
                </c:pt>
                <c:pt idx="5">
                  <c:v>25.056000000000001</c:v>
                </c:pt>
                <c:pt idx="6">
                  <c:v>25.706999999999997</c:v>
                </c:pt>
                <c:pt idx="7">
                  <c:v>29.447466666666699</c:v>
                </c:pt>
                <c:pt idx="8">
                  <c:v>33.0798380952381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9C2F-4150-938F-04CCF88EEEAB}"/>
            </c:ext>
          </c:extLst>
        </c:ser>
        <c:ser>
          <c:idx val="1"/>
          <c:order val="1"/>
          <c:spPr>
            <a:solidFill>
              <a:schemeClr val="accent5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A-9C2F-4150-938F-04CCF88EEEAB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B-9C2F-4150-938F-04CCF88EEEAB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C-9C2F-4150-938F-04CCF88EEEAB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9C2F-4150-938F-04CCF88EEEAB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9C2F-4150-938F-04CCF88EEEAB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9C2F-4150-938F-04CCF88EEEAB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9C2F-4150-938F-04CCF88EEEAB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9C2F-4150-938F-04CCF88EEEAB}"/>
                </c:ext>
              </c:extLst>
            </c:dLbl>
            <c:dLbl>
              <c:idx val="5"/>
              <c:layout>
                <c:manualLayout>
                  <c:x val="0"/>
                  <c:y val="-3.5310734463276836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9C2F-4150-938F-04CCF88EEEAB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9C2F-4150-938F-04CCF88EEEAB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9C2F-4150-938F-04CCF88EEEAB}"/>
                </c:ext>
              </c:extLst>
            </c:dLbl>
            <c:dLbl>
              <c:idx val="8"/>
              <c:layout>
                <c:manualLayout>
                  <c:x val="0"/>
                  <c:y val="-3.5310734463276836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9C2F-4150-938F-04CCF88EEEA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I$2</c:f>
              <c:numCache>
                <c:formatCode>General</c:formatCode>
                <c:ptCount val="9"/>
                <c:pt idx="0">
                  <c:v>32</c:v>
                </c:pt>
                <c:pt idx="1">
                  <c:v>33.5</c:v>
                </c:pt>
                <c:pt idx="2">
                  <c:v>34.200000000000003</c:v>
                </c:pt>
                <c:pt idx="3">
                  <c:v>36.299999999999997</c:v>
                </c:pt>
                <c:pt idx="4">
                  <c:v>37.1</c:v>
                </c:pt>
                <c:pt idx="5">
                  <c:v>35.200000000000003</c:v>
                </c:pt>
                <c:pt idx="6">
                  <c:v>37.100000000000009</c:v>
                </c:pt>
                <c:pt idx="7">
                  <c:v>41.3</c:v>
                </c:pt>
                <c:pt idx="8">
                  <c:v>43.4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9C2F-4150-938F-04CCF88EEE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12467888"/>
        <c:axId val="1"/>
      </c:barChart>
      <c:catAx>
        <c:axId val="31246788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124678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EADB3E3-9E57-4B59-B196-D06950DFD80B}" type="datetimeFigureOut">
              <a:rPr lang="zh-CN" altLang="en-US" smtClean="0"/>
              <a:t>2025/9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3BECD66-750E-4577-BB2D-25D3398F8F7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599966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48066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3640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7181451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6738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1692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698107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9226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23682664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21" Type="http://schemas.openxmlformats.org/officeDocument/2006/relationships/tags" Target="../tags/tag24.xml"/><Relationship Id="rId34" Type="http://schemas.openxmlformats.org/officeDocument/2006/relationships/slideLayout" Target="../slideLayouts/slideLayout5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tags" Target="../tags/tag36.xml"/><Relationship Id="rId38" Type="http://schemas.openxmlformats.org/officeDocument/2006/relationships/chart" Target="../charts/chart1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29" Type="http://schemas.openxmlformats.org/officeDocument/2006/relationships/tags" Target="../tags/tag32.xml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37" Type="http://schemas.openxmlformats.org/officeDocument/2006/relationships/image" Target="../media/image5.emf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oleObject" Target="../embeddings/oleObject5.bin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tags" Target="../tags/tag34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notesSlide" Target="../notesSlides/notesSlide1.xml"/><Relationship Id="rId8" Type="http://schemas.openxmlformats.org/officeDocument/2006/relationships/tags" Target="../tags/tag11.xml"/><Relationship Id="rId3" Type="http://schemas.openxmlformats.org/officeDocument/2006/relationships/tags" Target="../tags/tag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6A92511-01E3-3B4D-9CD3-912E972ECB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36" imgW="360" imgH="360" progId="TCLayout.ActiveDocument.1">
                  <p:embed/>
                </p:oleObj>
              </mc:Choice>
              <mc:Fallback>
                <p:oleObj name="think-cell 幻灯片" r:id="rId36" imgW="360" imgH="36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A92511-01E3-3B4D-9CD3-912E972ECB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457DD58-D135-BDE3-D4CA-85EAE84236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graphicFrame>
        <p:nvGraphicFramePr>
          <p:cNvPr id="39" name="Chart 3">
            <a:extLst>
              <a:ext uri="{FF2B5EF4-FFF2-40B4-BE49-F238E27FC236}">
                <a16:creationId xmlns:a16="http://schemas.microsoft.com/office/drawing/2014/main" id="{0FC09066-87A0-49D0-8FAF-F90A5A2AB69B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320675" y="1258888"/>
          <a:ext cx="11566525" cy="4495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EADC88FE-99ED-ED19-FA9A-F5F74A9C1A09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 flipV="1">
            <a:off x="6103938" y="2266950"/>
            <a:ext cx="0" cy="5778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B7D1281-DF52-58EA-E4E1-7F13B99EA6E9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6103938" y="2266950"/>
            <a:ext cx="12287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E8F5C08F-31F8-F22F-3B70-CC247A89DE67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7332663" y="2266950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8E3579F-4A4C-3EE6-7791-ED7138BCF940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V="1">
            <a:off x="7408863" y="1963738"/>
            <a:ext cx="0" cy="4556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0E29373-C22D-4469-AB69-B817C975AAF9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7408863" y="1963738"/>
            <a:ext cx="12287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3369424-D215-FCFC-97FA-C4FEAD4C5423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8637588" y="1963738"/>
            <a:ext cx="0" cy="3397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 Placeholder 33">
            <a:extLst>
              <a:ext uri="{FF2B5EF4-FFF2-40B4-BE49-F238E27FC236}">
                <a16:creationId xmlns:a16="http://schemas.microsoft.com/office/drawing/2014/main" id="{B04653B1-7CC7-16E5-8D89-C132891CFD0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806450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1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Arial" pitchFamily="34" charset="0"/>
            </a:endParaRPr>
          </a:p>
        </p:txBody>
      </p:sp>
      <p:sp>
        <p:nvSpPr>
          <p:cNvPr id="10" name="Text Placeholder 33">
            <a:extLst>
              <a:ext uri="{FF2B5EF4-FFF2-40B4-BE49-F238E27FC236}">
                <a16:creationId xmlns:a16="http://schemas.microsoft.com/office/drawing/2014/main" id="{E2B7F7DF-0EC6-9E2D-F77C-DF4FBE90012B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073275" y="5507038"/>
            <a:ext cx="4603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000000"/>
                </a:solidFill>
                <a:latin typeface="理想品牌字体 2022"/>
              </a:rPr>
              <a:t>{year_2}</a:t>
            </a:r>
            <a:endParaRPr lang="en-US" altLang="zh-CN" sz="1400" dirty="0">
              <a:solidFill>
                <a:srgbClr val="000000"/>
              </a:solidFill>
              <a:latin typeface="理想品牌字体 2022"/>
            </a:endParaRPr>
          </a:p>
        </p:txBody>
      </p:sp>
      <p:sp>
        <p:nvSpPr>
          <p:cNvPr id="11" name="Text Placeholder 33">
            <a:extLst>
              <a:ext uri="{FF2B5EF4-FFF2-40B4-BE49-F238E27FC236}">
                <a16:creationId xmlns:a16="http://schemas.microsoft.com/office/drawing/2014/main" id="{41EAFAB6-5B04-42A9-4D49-252CAA4F2B51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338513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000000"/>
                </a:solidFill>
                <a:latin typeface="理想品牌字体 2022"/>
              </a:rPr>
              <a:t>{year_\3}</a:t>
            </a:r>
            <a:endParaRPr lang="en-US" altLang="zh-CN" sz="1400" dirty="0">
              <a:solidFill>
                <a:srgbClr val="000000"/>
              </a:solidFill>
              <a:latin typeface="理想品牌字体 2022"/>
            </a:endParaRPr>
          </a:p>
        </p:txBody>
      </p:sp>
      <p:sp>
        <p:nvSpPr>
          <p:cNvPr id="13" name="Text Placeholder 33">
            <a:extLst>
              <a:ext uri="{FF2B5EF4-FFF2-40B4-BE49-F238E27FC236}">
                <a16:creationId xmlns:a16="http://schemas.microsoft.com/office/drawing/2014/main" id="{C6853431-4E80-F0CA-A60A-696DB061F1C0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605338" y="5507038"/>
            <a:ext cx="4635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000000"/>
                </a:solidFill>
                <a:latin typeface="理想品牌字体 2022"/>
              </a:rPr>
              <a:t>{year_4}</a:t>
            </a:r>
            <a:endParaRPr lang="en-US" altLang="zh-CN" sz="1400" dirty="0">
              <a:solidFill>
                <a:srgbClr val="000000"/>
              </a:solidFill>
              <a:latin typeface="理想品牌字体 2022"/>
            </a:endParaRP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FF2579BA-910E-68A4-02AF-366A41A94461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873750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000000"/>
                </a:solidFill>
                <a:latin typeface="理想品牌字体 2022"/>
              </a:rPr>
              <a:t>{year_5}</a:t>
            </a:r>
            <a:endParaRPr lang="en-US" altLang="zh-CN" sz="1400" dirty="0">
              <a:solidFill>
                <a:srgbClr val="000000"/>
              </a:solidFill>
              <a:latin typeface="理想品牌字体 2022"/>
            </a:endParaRPr>
          </a:p>
        </p:txBody>
      </p:sp>
      <p:sp>
        <p:nvSpPr>
          <p:cNvPr id="15" name="Text Placeholder 33">
            <a:extLst>
              <a:ext uri="{FF2B5EF4-FFF2-40B4-BE49-F238E27FC236}">
                <a16:creationId xmlns:a16="http://schemas.microsoft.com/office/drawing/2014/main" id="{4D11FCAB-8310-9FC0-E121-E8E50A808E60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146925" y="5507038"/>
            <a:ext cx="4476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000000"/>
                </a:solidFill>
                <a:latin typeface="理想品牌字体 2022"/>
              </a:rPr>
              <a:t>{year_6}</a:t>
            </a:r>
            <a:endParaRPr lang="en-US" altLang="zh-CN" sz="1400" dirty="0">
              <a:solidFill>
                <a:srgbClr val="000000"/>
              </a:solidFill>
              <a:latin typeface="理想品牌字体 2022"/>
            </a:endParaRPr>
          </a:p>
        </p:txBody>
      </p:sp>
      <p:sp>
        <p:nvSpPr>
          <p:cNvPr id="16" name="Text Placeholder 33">
            <a:extLst>
              <a:ext uri="{FF2B5EF4-FFF2-40B4-BE49-F238E27FC236}">
                <a16:creationId xmlns:a16="http://schemas.microsoft.com/office/drawing/2014/main" id="{D2DE583F-8268-2428-521A-A98DA12DB6F7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8405813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000000"/>
                </a:solidFill>
                <a:latin typeface="理想品牌字体 2022"/>
              </a:rPr>
              <a:t>{year_7}</a:t>
            </a:r>
            <a:endParaRPr lang="en-US" altLang="zh-CN" sz="1400" dirty="0">
              <a:solidFill>
                <a:srgbClr val="000000"/>
              </a:solidFill>
              <a:latin typeface="理想品牌字体 2022"/>
            </a:endParaRPr>
          </a:p>
        </p:txBody>
      </p:sp>
      <p:sp>
        <p:nvSpPr>
          <p:cNvPr id="17" name="Text Placeholder 33">
            <a:extLst>
              <a:ext uri="{FF2B5EF4-FFF2-40B4-BE49-F238E27FC236}">
                <a16:creationId xmlns:a16="http://schemas.microsoft.com/office/drawing/2014/main" id="{2647D264-6006-28EE-867F-EA5A5CB21AE8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9674225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000000"/>
                </a:solidFill>
                <a:latin typeface="理想品牌字体 2022"/>
              </a:rPr>
              <a:t>{year_8}</a:t>
            </a:r>
            <a:endParaRPr lang="en-US" altLang="zh-CN" sz="1400" dirty="0">
              <a:solidFill>
                <a:srgbClr val="000000"/>
              </a:solidFill>
              <a:latin typeface="理想品牌字体 2022"/>
            </a:endParaRPr>
          </a:p>
        </p:txBody>
      </p:sp>
      <p:sp>
        <p:nvSpPr>
          <p:cNvPr id="18" name="Text Placeholder 33">
            <a:extLst>
              <a:ext uri="{FF2B5EF4-FFF2-40B4-BE49-F238E27FC236}">
                <a16:creationId xmlns:a16="http://schemas.microsoft.com/office/drawing/2014/main" id="{5A1F1E7C-21EA-EFE5-C44E-BF1FD1D9DF5D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0939463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000000"/>
                </a:solidFill>
                <a:latin typeface="理想品牌字体 2022"/>
              </a:rPr>
              <a:t>{year_9}</a:t>
            </a:r>
            <a:endParaRPr lang="en-US" altLang="zh-CN" sz="1400" dirty="0">
              <a:solidFill>
                <a:srgbClr val="000000"/>
              </a:solidFill>
              <a:latin typeface="理想品牌字体 2022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814388" y="3382963"/>
            <a:ext cx="4460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68C8B24-2FCA-4050-9222-07864E1FC1C0}" type="datetime'''''''''4''''''''''''''''''''0.''''''''''0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0.0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111376" y="3305175"/>
            <a:ext cx="3857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DC9FF5F-ECE4-407B-857E-440FD42955B2}" type="datetime'''''''''''''''''''4''1''.''''''''''''''''7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1.7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3370263" y="3151188"/>
            <a:ext cx="4016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11C53A5-ABE1-4BE7-A29D-BB1851073958}" type="datetime'''''''''4''''5.''''''''''''''''''''''1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5.1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618038" y="2789238"/>
            <a:ext cx="4381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A34482A-3593-4C9B-974F-789845E8E7D1}" type="datetime'''''''''''''''''''''''''''''''5''''3''''''''''''.0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53.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884863" y="2882900"/>
            <a:ext cx="439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669FEE4-1B5C-4279-8654-005BE2456449}" type="datetime'''''''''''5''''''''''''''''''0''''''''''''''''''''.''''''9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50.9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7153275" y="2457450"/>
            <a:ext cx="436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DB326C3-E5DA-4A3E-8997-F088AC6D68EE}" type="datetime'''''''''''''''''''6''0''''''.''3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60.3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8420100" y="2341563"/>
            <a:ext cx="436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CDB97FD-7023-417B-94AC-C278069AFD49}" type="datetime'''''''''6''''2''.''''''''8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62.8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9699625" y="1978025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0BE7745-F7E6-47E3-BE66-CB3EAC3E1DF3}" type="datetime'''''''''7''''''''''''0''''.''''''''''7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70.7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0961688" y="1716088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3F48F98-2AC0-40A9-8B9E-6A6E071D35DA}" type="datetime'''''''''''''''''''''''7''''''6.''''''''''''''''''''''''''5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76.5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6318250" y="1965324"/>
            <a:ext cx="801688" cy="6032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groth_rate_1}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623175" y="1662113"/>
            <a:ext cx="801688" cy="6032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growth_rate_2}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BF0E804-7D21-325E-53FB-1A7530437E1F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474663" y="1641475"/>
            <a:ext cx="250825" cy="187325"/>
          </a:xfrm>
          <a:prstGeom prst="rect">
            <a:avLst/>
          </a:prstGeom>
          <a:solidFill>
            <a:schemeClr val="accent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1AF548BC-1008-60E0-E47C-5CC4270277CF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474663" y="1905000"/>
            <a:ext cx="250825" cy="187325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ED354DFD-F296-85E6-0EE3-B091CAE79D42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776288" y="1636713"/>
            <a:ext cx="173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Series_1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776288" y="1900238"/>
            <a:ext cx="20351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Series_2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id="{DDAC2256-81DC-EF3A-5F34-0BB9D3762765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5269071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arrow, stacked, column, columns, bar, bars, think-cell, chart, charts, graph, graphs</a:t>
            </a:r>
          </a:p>
        </p:txBody>
      </p:sp>
      <p:sp>
        <p:nvSpPr>
          <p:cNvPr id="23" name="Rectangle 18">
            <a:extLst>
              <a:ext uri="{FF2B5EF4-FFF2-40B4-BE49-F238E27FC236}">
                <a16:creationId xmlns:a16="http://schemas.microsoft.com/office/drawing/2014/main" id="{B3C2C46E-6FC2-1460-CA89-59879EE722B4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s slide contains a </a:t>
            </a: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nk-cell chart</a:t>
            </a: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.</a:t>
            </a: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open the chart's internal datashe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, double-click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ny empty space in the chart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dd annotations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(e.g., CAGR arrows, difference arrows),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right-click the chart or a chart feature to open the context menu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hange the style and formatting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of the chart or a feature,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lick the chart or feature to open the mini toolbar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5E8ED465-D755-5687-BC6D-3985B137FEC9}"/>
              </a:ext>
            </a:extLst>
          </p:cNvPr>
          <p:cNvSpPr txBox="1">
            <a:spLocks/>
          </p:cNvSpPr>
          <p:nvPr/>
        </p:nvSpPr>
        <p:spPr>
          <a:xfrm>
            <a:off x="407987" y="886115"/>
            <a:ext cx="729367" cy="215444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onte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}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ABE23505-CCE8-4BB7-A5DB-F88A6B290B86}"/>
              </a:ext>
            </a:extLst>
          </p:cNvPr>
          <p:cNvSpPr txBox="1"/>
          <p:nvPr/>
        </p:nvSpPr>
        <p:spPr>
          <a:xfrm>
            <a:off x="5056188" y="737937"/>
            <a:ext cx="91440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dirty="0">
                <a:solidFill>
                  <a:srgbClr val="575757"/>
                </a:solidFill>
              </a:rPr>
              <a:t>请手动填入图表数字</a:t>
            </a:r>
          </a:p>
        </p:txBody>
      </p:sp>
    </p:spTree>
    <p:extLst>
      <p:ext uri="{BB962C8B-B14F-4D97-AF65-F5344CB8AC3E}">
        <p14:creationId xmlns:p14="http://schemas.microsoft.com/office/powerpoint/2010/main" val="13799398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LG4WcdbzzsqfC.Phogv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7ssYrmLHeWFmpybmyrT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gIkW1O.nPvBhBtP_LT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nSndZMemy3UaXUWbTtA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v2Tmh9luVN2PjPmyZv8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Z4SJ9ZvvTC.A9mEXhsO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FE5VBvd04hFH89JrfyL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_zv7W0BwjO8oIjyvHmg3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fVwMRjnMYKDEYZJAc_U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gWrlpecb2bGjz1VueOE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2u4tRO7oLMb85gyZqUH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TLmFAxEuxMekdKDvq6a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ZwlQoXfzrQm1jMSPhzg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2xh4u9m5SUQXqsGGuYy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61NyqBay.cNz_nClUrB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3_c38_Ooyzmqb3X4vg7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bcCBlxA96moYcreA7k.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kldaiJ3YtiPOdsHYq6i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SNxJcx1T2tPo5oS5kED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H.L.ABCPM_qJ.pAMaG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WoVEYbveUfxtGovsDnY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UmHIxJt6zA59lSahVU3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TlRVTId7HXhmd_2RbNQ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3dS4w8ihIw1BYHPUcgC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BMG_enETVD1JxQCKQqT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OPIDmv8cnMrh5BKlQG0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lVyyTJAg_PCDQEzWir9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YcCf_plSK62QpxZivTH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377OV6vAabMhghxMuv3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iyRzu0gHKBfUCcsbuFw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6v5Lm6faNTeIIqGKxagQ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206</Words>
  <Application>Microsoft Office PowerPoint</Application>
  <PresentationFormat>宽屏</PresentationFormat>
  <Paragraphs>48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LiciumFont 2022 Bold</vt:lpstr>
      <vt:lpstr>等线</vt:lpstr>
      <vt:lpstr>理想品牌字体 2022</vt:lpstr>
      <vt:lpstr>Arial</vt:lpstr>
      <vt:lpstr>Calibri</vt:lpstr>
      <vt:lpstr>Trebuchet MS</vt:lpstr>
      <vt:lpstr>Wingding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9T03:45:30Z</dcterms:created>
  <dcterms:modified xsi:type="dcterms:W3CDTF">2025-09-09T03:47:31Z</dcterms:modified>
</cp:coreProperties>
</file>